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  <p:sldMasterId id="2147483731" r:id="rId6"/>
  </p:sldMasterIdLst>
  <p:notesMasterIdLst>
    <p:notesMasterId r:id="rId15"/>
  </p:notesMasterIdLst>
  <p:handoutMasterIdLst>
    <p:handoutMasterId r:id="rId16"/>
  </p:handoutMasterIdLst>
  <p:sldIdLst>
    <p:sldId id="280" r:id="rId7"/>
    <p:sldId id="283" r:id="rId8"/>
    <p:sldId id="277" r:id="rId9"/>
    <p:sldId id="278" r:id="rId10"/>
    <p:sldId id="279" r:id="rId11"/>
    <p:sldId id="274" r:id="rId12"/>
    <p:sldId id="275" r:id="rId13"/>
    <p:sldId id="284" r:id="rId14"/>
  </p:sldIdLst>
  <p:sldSz cx="12192000" cy="6858000"/>
  <p:notesSz cx="6794500" cy="9906000"/>
  <p:custDataLst>
    <p:tags r:id="rId17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2359D2F-8833-4E78-8F68-15B02335AAA5}" v="2" dt="2024-06-04T16:04:18.58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7" autoAdjust="0"/>
    <p:restoredTop sz="94660" autoAdjust="0"/>
  </p:normalViewPr>
  <p:slideViewPr>
    <p:cSldViewPr snapToGrid="0">
      <p:cViewPr varScale="1">
        <p:scale>
          <a:sx n="85" d="100"/>
          <a:sy n="85" d="100"/>
        </p:scale>
        <p:origin x="590" y="53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23" d="100"/>
          <a:sy n="123" d="100"/>
        </p:scale>
        <p:origin x="761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1.xml"/><Relationship Id="rId15" Type="http://schemas.openxmlformats.org/officeDocument/2006/relationships/notesMaster" Target="notesMasters/notesMaster1.xml"/><Relationship Id="rId23" Type="http://schemas.microsoft.com/office/2015/10/relationships/revisionInfo" Target="revisionInfo.xml"/><Relationship Id="rId10" Type="http://schemas.openxmlformats.org/officeDocument/2006/relationships/slide" Target="slides/slide4.xml"/><Relationship Id="rId19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ders Ringereide Widding" userId="3319ff3e-2eaf-43b2-b9a5-541e85142cb2" providerId="ADAL" clId="{92359D2F-8833-4E78-8F68-15B02335AAA5}"/>
    <pc:docChg chg="undo redo custSel addSld delSld modSld">
      <pc:chgData name="Anders Ringereide Widding" userId="3319ff3e-2eaf-43b2-b9a5-541e85142cb2" providerId="ADAL" clId="{92359D2F-8833-4E78-8F68-15B02335AAA5}" dt="2024-06-05T08:55:20.702" v="808" actId="5793"/>
      <pc:docMkLst>
        <pc:docMk/>
      </pc:docMkLst>
      <pc:sldChg chg="modSp del mod">
        <pc:chgData name="Anders Ringereide Widding" userId="3319ff3e-2eaf-43b2-b9a5-541e85142cb2" providerId="ADAL" clId="{92359D2F-8833-4E78-8F68-15B02335AAA5}" dt="2024-06-04T16:08:28.198" v="57" actId="2696"/>
        <pc:sldMkLst>
          <pc:docMk/>
          <pc:sldMk cId="4266110666" sldId="276"/>
        </pc:sldMkLst>
        <pc:spChg chg="mod">
          <ac:chgData name="Anders Ringereide Widding" userId="3319ff3e-2eaf-43b2-b9a5-541e85142cb2" providerId="ADAL" clId="{92359D2F-8833-4E78-8F68-15B02335AAA5}" dt="2024-06-04T16:01:33.721" v="36" actId="1076"/>
          <ac:spMkLst>
            <pc:docMk/>
            <pc:sldMk cId="4266110666" sldId="276"/>
            <ac:spMk id="7" creationId="{BD858FBF-87C6-48AA-9B06-7C5337B32F11}"/>
          </ac:spMkLst>
        </pc:spChg>
      </pc:sldChg>
      <pc:sldChg chg="modSp mod">
        <pc:chgData name="Anders Ringereide Widding" userId="3319ff3e-2eaf-43b2-b9a5-541e85142cb2" providerId="ADAL" clId="{92359D2F-8833-4E78-8F68-15B02335AAA5}" dt="2024-06-04T21:56:21.223" v="807"/>
        <pc:sldMkLst>
          <pc:docMk/>
          <pc:sldMk cId="157479629" sldId="277"/>
        </pc:sldMkLst>
        <pc:spChg chg="mod">
          <ac:chgData name="Anders Ringereide Widding" userId="3319ff3e-2eaf-43b2-b9a5-541e85142cb2" providerId="ADAL" clId="{92359D2F-8833-4E78-8F68-15B02335AAA5}" dt="2024-06-04T16:11:21.648" v="138" actId="20577"/>
          <ac:spMkLst>
            <pc:docMk/>
            <pc:sldMk cId="157479629" sldId="277"/>
            <ac:spMk id="17" creationId="{16222C49-4944-408C-B75F-A5C6F3E38398}"/>
          </ac:spMkLst>
        </pc:spChg>
        <pc:spChg chg="mod">
          <ac:chgData name="Anders Ringereide Widding" userId="3319ff3e-2eaf-43b2-b9a5-541e85142cb2" providerId="ADAL" clId="{92359D2F-8833-4E78-8F68-15B02335AAA5}" dt="2024-06-04T16:11:15.272" v="128" actId="20577"/>
          <ac:spMkLst>
            <pc:docMk/>
            <pc:sldMk cId="157479629" sldId="277"/>
            <ac:spMk id="18" creationId="{3F2FD858-F90E-4979-9F2F-2EB880165FBA}"/>
          </ac:spMkLst>
        </pc:spChg>
        <pc:spChg chg="mod">
          <ac:chgData name="Anders Ringereide Widding" userId="3319ff3e-2eaf-43b2-b9a5-541e85142cb2" providerId="ADAL" clId="{92359D2F-8833-4E78-8F68-15B02335AAA5}" dt="2024-06-04T21:56:21.223" v="807"/>
          <ac:spMkLst>
            <pc:docMk/>
            <pc:sldMk cId="157479629" sldId="277"/>
            <ac:spMk id="19" creationId="{FDD149E1-7AD3-415D-8630-B1A1A75F6300}"/>
          </ac:spMkLst>
        </pc:spChg>
        <pc:spChg chg="mod">
          <ac:chgData name="Anders Ringereide Widding" userId="3319ff3e-2eaf-43b2-b9a5-541e85142cb2" providerId="ADAL" clId="{92359D2F-8833-4E78-8F68-15B02335AAA5}" dt="2024-06-04T18:18:19.564" v="621" actId="20577"/>
          <ac:spMkLst>
            <pc:docMk/>
            <pc:sldMk cId="157479629" sldId="277"/>
            <ac:spMk id="21" creationId="{9BF7B3D2-635C-498E-BE89-396D76A3ECAC}"/>
          </ac:spMkLst>
        </pc:spChg>
      </pc:sldChg>
      <pc:sldChg chg="modSp mod">
        <pc:chgData name="Anders Ringereide Widding" userId="3319ff3e-2eaf-43b2-b9a5-541e85142cb2" providerId="ADAL" clId="{92359D2F-8833-4E78-8F68-15B02335AAA5}" dt="2024-06-04T18:23:27.454" v="767" actId="20577"/>
        <pc:sldMkLst>
          <pc:docMk/>
          <pc:sldMk cId="581567592" sldId="278"/>
        </pc:sldMkLst>
        <pc:spChg chg="mod">
          <ac:chgData name="Anders Ringereide Widding" userId="3319ff3e-2eaf-43b2-b9a5-541e85142cb2" providerId="ADAL" clId="{92359D2F-8833-4E78-8F68-15B02335AAA5}" dt="2024-06-04T18:23:27.454" v="767" actId="20577"/>
          <ac:spMkLst>
            <pc:docMk/>
            <pc:sldMk cId="581567592" sldId="278"/>
            <ac:spMk id="11" creationId="{3BA1BCA3-689D-4652-8C5A-F1F7C4FBF2B1}"/>
          </ac:spMkLst>
        </pc:spChg>
      </pc:sldChg>
      <pc:sldChg chg="modSp mod">
        <pc:chgData name="Anders Ringereide Widding" userId="3319ff3e-2eaf-43b2-b9a5-541e85142cb2" providerId="ADAL" clId="{92359D2F-8833-4E78-8F68-15B02335AAA5}" dt="2024-06-05T08:55:20.702" v="808" actId="5793"/>
        <pc:sldMkLst>
          <pc:docMk/>
          <pc:sldMk cId="4257378762" sldId="279"/>
        </pc:sldMkLst>
        <pc:spChg chg="mod">
          <ac:chgData name="Anders Ringereide Widding" userId="3319ff3e-2eaf-43b2-b9a5-541e85142cb2" providerId="ADAL" clId="{92359D2F-8833-4E78-8F68-15B02335AAA5}" dt="2024-06-05T08:55:20.702" v="808" actId="5793"/>
          <ac:spMkLst>
            <pc:docMk/>
            <pc:sldMk cId="4257378762" sldId="279"/>
            <ac:spMk id="11" creationId="{3BA1BCA3-689D-4652-8C5A-F1F7C4FBF2B1}"/>
          </ac:spMkLst>
        </pc:spChg>
      </pc:sldChg>
      <pc:sldChg chg="del">
        <pc:chgData name="Anders Ringereide Widding" userId="3319ff3e-2eaf-43b2-b9a5-541e85142cb2" providerId="ADAL" clId="{92359D2F-8833-4E78-8F68-15B02335AAA5}" dt="2024-06-04T16:10:11.941" v="79" actId="2696"/>
        <pc:sldMkLst>
          <pc:docMk/>
          <pc:sldMk cId="1351544629" sldId="281"/>
        </pc:sldMkLst>
      </pc:sldChg>
      <pc:sldChg chg="addSp delSp modSp add del mod">
        <pc:chgData name="Anders Ringereide Widding" userId="3319ff3e-2eaf-43b2-b9a5-541e85142cb2" providerId="ADAL" clId="{92359D2F-8833-4E78-8F68-15B02335AAA5}" dt="2024-06-04T16:06:33.290" v="56" actId="2696"/>
        <pc:sldMkLst>
          <pc:docMk/>
          <pc:sldMk cId="771028194" sldId="282"/>
        </pc:sldMkLst>
        <pc:spChg chg="mod">
          <ac:chgData name="Anders Ringereide Widding" userId="3319ff3e-2eaf-43b2-b9a5-541e85142cb2" providerId="ADAL" clId="{92359D2F-8833-4E78-8F68-15B02335AAA5}" dt="2024-06-04T16:00:19.755" v="23" actId="20577"/>
          <ac:spMkLst>
            <pc:docMk/>
            <pc:sldMk cId="771028194" sldId="282"/>
            <ac:spMk id="5" creationId="{E11477CD-2318-440D-B268-4F6529469B37}"/>
          </ac:spMkLst>
        </pc:spChg>
        <pc:spChg chg="mod">
          <ac:chgData name="Anders Ringereide Widding" userId="3319ff3e-2eaf-43b2-b9a5-541e85142cb2" providerId="ADAL" clId="{92359D2F-8833-4E78-8F68-15B02335AAA5}" dt="2024-06-04T15:59:35.447" v="1" actId="20577"/>
          <ac:spMkLst>
            <pc:docMk/>
            <pc:sldMk cId="771028194" sldId="282"/>
            <ac:spMk id="8" creationId="{318D29DF-EE77-4C66-9D17-CBBFF043199D}"/>
          </ac:spMkLst>
        </pc:spChg>
        <pc:picChg chg="add del">
          <ac:chgData name="Anders Ringereide Widding" userId="3319ff3e-2eaf-43b2-b9a5-541e85142cb2" providerId="ADAL" clId="{92359D2F-8833-4E78-8F68-15B02335AAA5}" dt="2024-06-04T16:00:03.922" v="3" actId="22"/>
          <ac:picMkLst>
            <pc:docMk/>
            <pc:sldMk cId="771028194" sldId="282"/>
            <ac:picMk id="4" creationId="{38543B8D-8405-0ED9-EE8C-DD2279EDEB99}"/>
          </ac:picMkLst>
        </pc:picChg>
      </pc:sldChg>
      <pc:sldChg chg="addSp delSp modSp new mod modClrScheme chgLayout">
        <pc:chgData name="Anders Ringereide Widding" userId="3319ff3e-2eaf-43b2-b9a5-541e85142cb2" providerId="ADAL" clId="{92359D2F-8833-4E78-8F68-15B02335AAA5}" dt="2024-06-04T21:55:24.931" v="805" actId="20577"/>
        <pc:sldMkLst>
          <pc:docMk/>
          <pc:sldMk cId="2144434498" sldId="283"/>
        </pc:sldMkLst>
        <pc:spChg chg="mod ord">
          <ac:chgData name="Anders Ringereide Widding" userId="3319ff3e-2eaf-43b2-b9a5-541e85142cb2" providerId="ADAL" clId="{92359D2F-8833-4E78-8F68-15B02335AAA5}" dt="2024-06-04T16:00:43.480" v="25" actId="700"/>
          <ac:spMkLst>
            <pc:docMk/>
            <pc:sldMk cId="2144434498" sldId="283"/>
            <ac:spMk id="2" creationId="{F11E2E54-7ADA-A5E3-CF7A-21EF5E4A6296}"/>
          </ac:spMkLst>
        </pc:spChg>
        <pc:spChg chg="del mod ord">
          <ac:chgData name="Anders Ringereide Widding" userId="3319ff3e-2eaf-43b2-b9a5-541e85142cb2" providerId="ADAL" clId="{92359D2F-8833-4E78-8F68-15B02335AAA5}" dt="2024-06-04T16:00:43.480" v="25" actId="700"/>
          <ac:spMkLst>
            <pc:docMk/>
            <pc:sldMk cId="2144434498" sldId="283"/>
            <ac:spMk id="3" creationId="{A866701E-ABB7-3F38-F459-47F720F12A4D}"/>
          </ac:spMkLst>
        </pc:spChg>
        <pc:spChg chg="del mod ord">
          <ac:chgData name="Anders Ringereide Widding" userId="3319ff3e-2eaf-43b2-b9a5-541e85142cb2" providerId="ADAL" clId="{92359D2F-8833-4E78-8F68-15B02335AAA5}" dt="2024-06-04T16:00:43.480" v="25" actId="700"/>
          <ac:spMkLst>
            <pc:docMk/>
            <pc:sldMk cId="2144434498" sldId="283"/>
            <ac:spMk id="4" creationId="{5F11F622-E99A-D839-BF83-46C20E9F39AA}"/>
          </ac:spMkLst>
        </pc:spChg>
        <pc:spChg chg="del mod ord">
          <ac:chgData name="Anders Ringereide Widding" userId="3319ff3e-2eaf-43b2-b9a5-541e85142cb2" providerId="ADAL" clId="{92359D2F-8833-4E78-8F68-15B02335AAA5}" dt="2024-06-04T16:00:43.480" v="25" actId="700"/>
          <ac:spMkLst>
            <pc:docMk/>
            <pc:sldMk cId="2144434498" sldId="283"/>
            <ac:spMk id="5" creationId="{892A752F-7E71-A6D7-0A8F-8A4BECFEB06B}"/>
          </ac:spMkLst>
        </pc:spChg>
        <pc:spChg chg="del mod ord">
          <ac:chgData name="Anders Ringereide Widding" userId="3319ff3e-2eaf-43b2-b9a5-541e85142cb2" providerId="ADAL" clId="{92359D2F-8833-4E78-8F68-15B02335AAA5}" dt="2024-06-04T16:00:43.480" v="25" actId="700"/>
          <ac:spMkLst>
            <pc:docMk/>
            <pc:sldMk cId="2144434498" sldId="283"/>
            <ac:spMk id="6" creationId="{2F4CABC5-8216-E051-6E64-03FF3D8D165D}"/>
          </ac:spMkLst>
        </pc:spChg>
        <pc:spChg chg="del mod ord">
          <ac:chgData name="Anders Ringereide Widding" userId="3319ff3e-2eaf-43b2-b9a5-541e85142cb2" providerId="ADAL" clId="{92359D2F-8833-4E78-8F68-15B02335AAA5}" dt="2024-06-04T16:00:43.480" v="25" actId="700"/>
          <ac:spMkLst>
            <pc:docMk/>
            <pc:sldMk cId="2144434498" sldId="283"/>
            <ac:spMk id="7" creationId="{BA5F2528-8BFD-585F-53D2-05C88E451983}"/>
          </ac:spMkLst>
        </pc:spChg>
        <pc:spChg chg="add mod ord">
          <ac:chgData name="Anders Ringereide Widding" userId="3319ff3e-2eaf-43b2-b9a5-541e85142cb2" providerId="ADAL" clId="{92359D2F-8833-4E78-8F68-15B02335AAA5}" dt="2024-06-04T16:01:27.912" v="35"/>
          <ac:spMkLst>
            <pc:docMk/>
            <pc:sldMk cId="2144434498" sldId="283"/>
            <ac:spMk id="8" creationId="{D295DDF7-20B3-754D-55B2-172E39964D5C}"/>
          </ac:spMkLst>
        </pc:spChg>
        <pc:spChg chg="add mod ord">
          <ac:chgData name="Anders Ringereide Widding" userId="3319ff3e-2eaf-43b2-b9a5-541e85142cb2" providerId="ADAL" clId="{92359D2F-8833-4E78-8F68-15B02335AAA5}" dt="2024-06-04T16:01:43.382" v="37"/>
          <ac:spMkLst>
            <pc:docMk/>
            <pc:sldMk cId="2144434498" sldId="283"/>
            <ac:spMk id="9" creationId="{0796B3A6-A9D9-EBCE-10AA-006B6E045595}"/>
          </ac:spMkLst>
        </pc:spChg>
        <pc:spChg chg="add mod ord">
          <ac:chgData name="Anders Ringereide Widding" userId="3319ff3e-2eaf-43b2-b9a5-541e85142cb2" providerId="ADAL" clId="{92359D2F-8833-4E78-8F68-15B02335AAA5}" dt="2024-06-04T16:01:11.184" v="34" actId="20577"/>
          <ac:spMkLst>
            <pc:docMk/>
            <pc:sldMk cId="2144434498" sldId="283"/>
            <ac:spMk id="10" creationId="{039C58E4-C2B0-1FBA-080D-0F0A50F1EFB9}"/>
          </ac:spMkLst>
        </pc:spChg>
        <pc:spChg chg="add del mod ord">
          <ac:chgData name="Anders Ringereide Widding" userId="3319ff3e-2eaf-43b2-b9a5-541e85142cb2" providerId="ADAL" clId="{92359D2F-8833-4E78-8F68-15B02335AAA5}" dt="2024-06-04T16:01:03.429" v="26" actId="931"/>
          <ac:spMkLst>
            <pc:docMk/>
            <pc:sldMk cId="2144434498" sldId="283"/>
            <ac:spMk id="11" creationId="{2CF23A1A-F606-DFDF-481A-7D3AA34D3D36}"/>
          </ac:spMkLst>
        </pc:spChg>
        <pc:spChg chg="add mod ord">
          <ac:chgData name="Anders Ringereide Widding" userId="3319ff3e-2eaf-43b2-b9a5-541e85142cb2" providerId="ADAL" clId="{92359D2F-8833-4E78-8F68-15B02335AAA5}" dt="2024-06-04T21:55:24.931" v="805" actId="20577"/>
          <ac:spMkLst>
            <pc:docMk/>
            <pc:sldMk cId="2144434498" sldId="283"/>
            <ac:spMk id="12" creationId="{6FD27ECA-5D97-B263-7F1C-23AC730469FC}"/>
          </ac:spMkLst>
        </pc:spChg>
        <pc:picChg chg="add mod">
          <ac:chgData name="Anders Ringereide Widding" userId="3319ff3e-2eaf-43b2-b9a5-541e85142cb2" providerId="ADAL" clId="{92359D2F-8833-4E78-8F68-15B02335AAA5}" dt="2024-06-04T16:01:03.429" v="26" actId="931"/>
          <ac:picMkLst>
            <pc:docMk/>
            <pc:sldMk cId="2144434498" sldId="283"/>
            <ac:picMk id="14" creationId="{1E5B98EE-1AAD-6D1D-7BD9-D850ECB09F28}"/>
          </ac:picMkLst>
        </pc:picChg>
      </pc:sldChg>
      <pc:sldChg chg="addSp delSp modSp new mod modClrScheme chgLayout">
        <pc:chgData name="Anders Ringereide Widding" userId="3319ff3e-2eaf-43b2-b9a5-541e85142cb2" providerId="ADAL" clId="{92359D2F-8833-4E78-8F68-15B02335AAA5}" dt="2024-06-04T16:06:02.631" v="55" actId="1076"/>
        <pc:sldMkLst>
          <pc:docMk/>
          <pc:sldMk cId="2569386729" sldId="284"/>
        </pc:sldMkLst>
        <pc:spChg chg="mod ord">
          <ac:chgData name="Anders Ringereide Widding" userId="3319ff3e-2eaf-43b2-b9a5-541e85142cb2" providerId="ADAL" clId="{92359D2F-8833-4E78-8F68-15B02335AAA5}" dt="2024-06-04T16:03:30.800" v="43" actId="700"/>
          <ac:spMkLst>
            <pc:docMk/>
            <pc:sldMk cId="2569386729" sldId="284"/>
            <ac:spMk id="2" creationId="{25DEDB56-0396-35BC-F074-2116BA031366}"/>
          </ac:spMkLst>
        </pc:spChg>
        <pc:spChg chg="del mod ord">
          <ac:chgData name="Anders Ringereide Widding" userId="3319ff3e-2eaf-43b2-b9a5-541e85142cb2" providerId="ADAL" clId="{92359D2F-8833-4E78-8F68-15B02335AAA5}" dt="2024-06-04T16:02:52.496" v="42" actId="700"/>
          <ac:spMkLst>
            <pc:docMk/>
            <pc:sldMk cId="2569386729" sldId="284"/>
            <ac:spMk id="3" creationId="{022EBD13-8860-0A73-BEC4-CEF10303ADE0}"/>
          </ac:spMkLst>
        </pc:spChg>
        <pc:spChg chg="del mod ord">
          <ac:chgData name="Anders Ringereide Widding" userId="3319ff3e-2eaf-43b2-b9a5-541e85142cb2" providerId="ADAL" clId="{92359D2F-8833-4E78-8F68-15B02335AAA5}" dt="2024-06-04T16:02:52.496" v="42" actId="700"/>
          <ac:spMkLst>
            <pc:docMk/>
            <pc:sldMk cId="2569386729" sldId="284"/>
            <ac:spMk id="4" creationId="{6C58F86C-C390-40A0-01A6-EB14375A315D}"/>
          </ac:spMkLst>
        </pc:spChg>
        <pc:spChg chg="del mod ord">
          <ac:chgData name="Anders Ringereide Widding" userId="3319ff3e-2eaf-43b2-b9a5-541e85142cb2" providerId="ADAL" clId="{92359D2F-8833-4E78-8F68-15B02335AAA5}" dt="2024-06-04T16:02:52.496" v="42" actId="700"/>
          <ac:spMkLst>
            <pc:docMk/>
            <pc:sldMk cId="2569386729" sldId="284"/>
            <ac:spMk id="5" creationId="{1BECD9C1-4FAE-798E-9411-00C8F48C6144}"/>
          </ac:spMkLst>
        </pc:spChg>
        <pc:spChg chg="add del mod ord">
          <ac:chgData name="Anders Ringereide Widding" userId="3319ff3e-2eaf-43b2-b9a5-541e85142cb2" providerId="ADAL" clId="{92359D2F-8833-4E78-8F68-15B02335AAA5}" dt="2024-06-04T16:03:30.800" v="43" actId="700"/>
          <ac:spMkLst>
            <pc:docMk/>
            <pc:sldMk cId="2569386729" sldId="284"/>
            <ac:spMk id="6" creationId="{2CCFC6AB-7782-C24D-15B9-4DED4B49C9B3}"/>
          </ac:spMkLst>
        </pc:spChg>
        <pc:spChg chg="add del mod ord">
          <ac:chgData name="Anders Ringereide Widding" userId="3319ff3e-2eaf-43b2-b9a5-541e85142cb2" providerId="ADAL" clId="{92359D2F-8833-4E78-8F68-15B02335AAA5}" dt="2024-06-04T16:03:30.800" v="43" actId="700"/>
          <ac:spMkLst>
            <pc:docMk/>
            <pc:sldMk cId="2569386729" sldId="284"/>
            <ac:spMk id="7" creationId="{24A1DCE6-B62A-784D-A87D-ADC2CCE7C3DA}"/>
          </ac:spMkLst>
        </pc:spChg>
        <pc:spChg chg="add del mod ord">
          <ac:chgData name="Anders Ringereide Widding" userId="3319ff3e-2eaf-43b2-b9a5-541e85142cb2" providerId="ADAL" clId="{92359D2F-8833-4E78-8F68-15B02335AAA5}" dt="2024-06-04T16:03:30.800" v="43" actId="700"/>
          <ac:spMkLst>
            <pc:docMk/>
            <pc:sldMk cId="2569386729" sldId="284"/>
            <ac:spMk id="8" creationId="{A332B73A-A281-3E68-51D5-6C86B900783C}"/>
          </ac:spMkLst>
        </pc:spChg>
        <pc:spChg chg="add del mod ord">
          <ac:chgData name="Anders Ringereide Widding" userId="3319ff3e-2eaf-43b2-b9a5-541e85142cb2" providerId="ADAL" clId="{92359D2F-8833-4E78-8F68-15B02335AAA5}" dt="2024-06-04T16:03:30.800" v="43" actId="700"/>
          <ac:spMkLst>
            <pc:docMk/>
            <pc:sldMk cId="2569386729" sldId="284"/>
            <ac:spMk id="9" creationId="{517036BA-328C-0AA7-EE55-9FB9E6E4593E}"/>
          </ac:spMkLst>
        </pc:spChg>
        <pc:spChg chg="add del mod ord">
          <ac:chgData name="Anders Ringereide Widding" userId="3319ff3e-2eaf-43b2-b9a5-541e85142cb2" providerId="ADAL" clId="{92359D2F-8833-4E78-8F68-15B02335AAA5}" dt="2024-06-04T16:03:30.800" v="43" actId="700"/>
          <ac:spMkLst>
            <pc:docMk/>
            <pc:sldMk cId="2569386729" sldId="284"/>
            <ac:spMk id="10" creationId="{5184CDF7-87F3-2A8F-DBC5-97D5DA215991}"/>
          </ac:spMkLst>
        </pc:spChg>
        <pc:spChg chg="add del mod ord">
          <ac:chgData name="Anders Ringereide Widding" userId="3319ff3e-2eaf-43b2-b9a5-541e85142cb2" providerId="ADAL" clId="{92359D2F-8833-4E78-8F68-15B02335AAA5}" dt="2024-06-04T16:03:30.800" v="43" actId="700"/>
          <ac:spMkLst>
            <pc:docMk/>
            <pc:sldMk cId="2569386729" sldId="284"/>
            <ac:spMk id="11" creationId="{FD9101B2-08A6-B94D-A2CC-EDDC6562EEDA}"/>
          </ac:spMkLst>
        </pc:spChg>
        <pc:picChg chg="add del mod">
          <ac:chgData name="Anders Ringereide Widding" userId="3319ff3e-2eaf-43b2-b9a5-541e85142cb2" providerId="ADAL" clId="{92359D2F-8833-4E78-8F68-15B02335AAA5}" dt="2024-06-04T16:04:27.567" v="49" actId="478"/>
          <ac:picMkLst>
            <pc:docMk/>
            <pc:sldMk cId="2569386729" sldId="284"/>
            <ac:picMk id="13" creationId="{762362D2-90FF-1A38-F61C-E4FCD81E2147}"/>
          </ac:picMkLst>
        </pc:picChg>
        <pc:picChg chg="add mod">
          <ac:chgData name="Anders Ringereide Widding" userId="3319ff3e-2eaf-43b2-b9a5-541e85142cb2" providerId="ADAL" clId="{92359D2F-8833-4E78-8F68-15B02335AAA5}" dt="2024-06-04T16:04:35.199" v="51" actId="1076"/>
          <ac:picMkLst>
            <pc:docMk/>
            <pc:sldMk cId="2569386729" sldId="284"/>
            <ac:picMk id="14" creationId="{7C747C13-8042-029C-AB9E-4F18AAD0792B}"/>
          </ac:picMkLst>
        </pc:picChg>
        <pc:picChg chg="add mod">
          <ac:chgData name="Anders Ringereide Widding" userId="3319ff3e-2eaf-43b2-b9a5-541e85142cb2" providerId="ADAL" clId="{92359D2F-8833-4E78-8F68-15B02335AAA5}" dt="2024-06-04T16:06:02.631" v="55" actId="1076"/>
          <ac:picMkLst>
            <pc:docMk/>
            <pc:sldMk cId="2569386729" sldId="284"/>
            <ac:picMk id="16" creationId="{D3CA784B-7353-641F-25C6-E89D5DBA43BF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General</c:formatCode>
                <c:ptCount val="1"/>
                <c:pt idx="0">
                  <c:v>32.2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355-41E0-A0AB-ED7FFE0A39E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General</c:formatCode>
                <c:ptCount val="1"/>
                <c:pt idx="0">
                  <c:v>28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355-41E0-A0AB-ED7FFE0A39E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3355-41E0-A0AB-ED7FFE0A39E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General</c:formatCode>
                <c:ptCount val="1"/>
                <c:pt idx="0">
                  <c:v>15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355-41E0-A0AB-ED7FFE0A39EC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General</c:formatCode>
                <c:ptCount val="1"/>
                <c:pt idx="0">
                  <c:v>1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355-41E0-A0AB-ED7FFE0A39EC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F$2</c:f>
              <c:numCache>
                <c:formatCode>General</c:formatCode>
                <c:ptCount val="1"/>
                <c:pt idx="0">
                  <c:v>15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355-41E0-A0AB-ED7FFE0A39EC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2023(93%S)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G$2</c:f>
              <c:numCache>
                <c:formatCode>General</c:formatCode>
                <c:ptCount val="1"/>
                <c:pt idx="0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C71-4DF1-B17F-3C1513CF87BA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jan-mai2024(39%S)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H$2</c:f>
              <c:numCache>
                <c:formatCode>General</c:formatCode>
                <c:ptCount val="1"/>
                <c:pt idx="0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C71-4DF1-B17F-3C1513CF87B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423447656"/>
        <c:axId val="423447984"/>
      </c:barChart>
      <c:catAx>
        <c:axId val="4234476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23447984"/>
        <c:crosses val="autoZero"/>
        <c:auto val="1"/>
        <c:lblAlgn val="ctr"/>
        <c:lblOffset val="100"/>
        <c:noMultiLvlLbl val="0"/>
      </c:catAx>
      <c:valAx>
        <c:axId val="4234479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234476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206093841391712"/>
          <c:y val="0.91849998505390562"/>
          <c:w val="0.88026509970876687"/>
          <c:h val="6.011368110236219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08981"/>
            <a:ext cx="2944283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8645" y="9408981"/>
            <a:ext cx="2944283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6/5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38250"/>
            <a:ext cx="5943600" cy="3343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67262"/>
            <a:ext cx="5435600" cy="39004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44283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45" y="9408981"/>
            <a:ext cx="2944283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10165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7E57234-840E-5340-880E-DD28C29AEF31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15725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9.png"/><Relationship Id="rId7" Type="http://schemas.openxmlformats.org/officeDocument/2006/relationships/image" Target="../media/image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8.svg"/><Relationship Id="rId4" Type="http://schemas.openxmlformats.org/officeDocument/2006/relationships/image" Target="../media/image10.svg"/><Relationship Id="rId9" Type="http://schemas.openxmlformats.org/officeDocument/2006/relationships/image" Target="../media/image7.png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9.png"/><Relationship Id="rId7" Type="http://schemas.openxmlformats.org/officeDocument/2006/relationships/image" Target="../media/image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8.svg"/><Relationship Id="rId4" Type="http://schemas.openxmlformats.org/officeDocument/2006/relationships/image" Target="../media/image10.svg"/><Relationship Id="rId9" Type="http://schemas.openxmlformats.org/officeDocument/2006/relationships/image" Target="../media/image7.png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2.svg"/><Relationship Id="rId7" Type="http://schemas.openxmlformats.org/officeDocument/2006/relationships/image" Target="../media/image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7" Type="http://schemas.openxmlformats.org/officeDocument/2006/relationships/image" Target="../media/image16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6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2.svg"/><Relationship Id="rId7" Type="http://schemas.openxmlformats.org/officeDocument/2006/relationships/image" Target="../media/image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7" Type="http://schemas.openxmlformats.org/officeDocument/2006/relationships/image" Target="../media/image1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tel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IT-konf 2024</a:t>
            </a:r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nb-NO"/>
              <a:t>IT-konf 2024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nb-NO"/>
              <a:t>IT-konf 2024</a:t>
            </a:r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IT-konf 2024</a:t>
            </a:r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IT-konf 2024</a:t>
            </a:r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IT-konf 2024</a:t>
            </a:r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IT-konf 2024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IT-konf 2024</a:t>
            </a:r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IT-konf 2024</a:t>
            </a:r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IT-konf 2024</a:t>
            </a:r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IT-konf 2024</a:t>
            </a:r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IT-konf 2024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3" name="Rectangle 11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IT-konf 2024</a:t>
            </a:r>
          </a:p>
        </p:txBody>
      </p:sp>
      <p:sp>
        <p:nvSpPr>
          <p:cNvPr id="4" name="Rectangle 12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53EEB9-8E97-9D4E-817F-D3C3D5273AD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623754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15796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704990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9284548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8830186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94563771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65193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77198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2901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0367467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49713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721978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242026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59430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006786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217034064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tel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IT-konf 2024</a:t>
            </a:r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42778567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123150836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nb-NO"/>
              <a:t>IT-konf 2024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212057159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nb-NO"/>
              <a:t>IT-konf 2024</a:t>
            </a:r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202198901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IT-konf 2024</a:t>
            </a:r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9994816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IT-konf 2024</a:t>
            </a:r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403833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IT-konf 2024</a:t>
            </a:r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218098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IT-konf 2024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93884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IT-konf 2024</a:t>
            </a:r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4868058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IT-konf 2024</a:t>
            </a:r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37349643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IT-konf 2024</a:t>
            </a:r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3714546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IT-konf 2024</a:t>
            </a:r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898993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98856293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IT-konf 2024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7682932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3" name="Rectangle 11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IT-konf 2024</a:t>
            </a:r>
          </a:p>
        </p:txBody>
      </p:sp>
      <p:sp>
        <p:nvSpPr>
          <p:cNvPr id="4" name="Rectangle 12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53EEB9-8E97-9D4E-817F-D3C3D5273AD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9019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34" Type="http://schemas.openxmlformats.org/officeDocument/2006/relationships/image" Target="../media/image3.svg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slideLayout" Target="../slideLayouts/slideLayout53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52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28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31" Type="http://schemas.openxmlformats.org/officeDocument/2006/relationships/oleObject" Target="../embeddings/oleObject4.bin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slideLayout" Target="../slideLayouts/slideLayout55.xml"/><Relationship Id="rId30" Type="http://schemas.openxmlformats.org/officeDocument/2006/relationships/tags" Target="../tags/tag5.xml"/><Relationship Id="rId8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39" imgH="343" progId="TCLayout.ActiveDocument.1">
                  <p:embed/>
                </p:oleObj>
              </mc:Choice>
              <mc:Fallback>
                <p:oleObj name="think-cell Slide" r:id="rId31" imgW="339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2D069C-C025-484F-B809-F6C03285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IT-konf 2024</a:t>
            </a:r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  <p:sldLayoutId id="2147483730" r:id="rId28"/>
  </p:sldLayoutIdLst>
  <p:hf sldNum="0" hdr="0" dt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029315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39" imgH="343" progId="TCLayout.ActiveDocument.1">
                  <p:embed/>
                </p:oleObj>
              </mc:Choice>
              <mc:Fallback>
                <p:oleObj name="think-cell Slide" r:id="rId31" imgW="339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2D069C-C025-484F-B809-F6C03285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IT-konf 2024</a:t>
            </a:r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1748903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  <p:sldLayoutId id="2147483744" r:id="rId13"/>
    <p:sldLayoutId id="2147483745" r:id="rId14"/>
    <p:sldLayoutId id="2147483746" r:id="rId15"/>
    <p:sldLayoutId id="2147483747" r:id="rId16"/>
    <p:sldLayoutId id="2147483748" r:id="rId17"/>
    <p:sldLayoutId id="2147483749" r:id="rId18"/>
    <p:sldLayoutId id="2147483750" r:id="rId19"/>
    <p:sldLayoutId id="2147483751" r:id="rId20"/>
    <p:sldLayoutId id="2147483752" r:id="rId21"/>
    <p:sldLayoutId id="2147483753" r:id="rId22"/>
    <p:sldLayoutId id="2147483754" r:id="rId23"/>
    <p:sldLayoutId id="2147483755" r:id="rId24"/>
    <p:sldLayoutId id="2147483756" r:id="rId25"/>
    <p:sldLayoutId id="2147483757" r:id="rId26"/>
    <p:sldLayoutId id="2147483758" r:id="rId27"/>
    <p:sldLayoutId id="2147483759" r:id="rId28"/>
  </p:sldLayoutIdLst>
  <p:hf sldNum="0" hdr="0" dt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97385FE2-C5AE-4119-811F-91D82D859B6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69DC9F95-A5D6-4456-9C3F-924C4AD3A4C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GB" sz="100" dirty="0"/>
              <a:t>f</a:t>
            </a:r>
            <a:endParaRPr lang="nb-NO" sz="100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17532FD9-7B26-4D18-A8DA-8C7871F2198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8C800DC-E0CA-40AF-B89B-1AB3FCD7060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f</a:t>
            </a:r>
            <a:endParaRPr lang="nb-NO" dirty="0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06C523A7-DC71-47AD-BAB3-991C9E55D7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116919"/>
          </a:xfrm>
        </p:spPr>
        <p:txBody>
          <a:bodyPr/>
          <a:lstStyle/>
          <a:p>
            <a:r>
              <a:rPr lang="en-GB" dirty="0" err="1"/>
              <a:t>Nytt</a:t>
            </a:r>
            <a:r>
              <a:rPr lang="en-GB" dirty="0"/>
              <a:t> </a:t>
            </a:r>
            <a:r>
              <a:rPr lang="en-GB" dirty="0" err="1"/>
              <a:t>Utskriftssystem</a:t>
            </a:r>
            <a:endParaRPr lang="nb-NO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2E68C4D5-3037-4E7A-B4B1-D01C0EC6240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463594" y="3505533"/>
            <a:ext cx="5716962" cy="1489478"/>
          </a:xfrm>
        </p:spPr>
        <p:txBody>
          <a:bodyPr/>
          <a:lstStyle/>
          <a:p>
            <a:r>
              <a:rPr lang="en-GB" dirty="0" err="1"/>
              <a:t>Safecom</a:t>
            </a:r>
            <a:r>
              <a:rPr lang="en-GB" dirty="0"/>
              <a:t> er </a:t>
            </a:r>
            <a:r>
              <a:rPr lang="en-GB" dirty="0" err="1"/>
              <a:t>død</a:t>
            </a:r>
            <a:r>
              <a:rPr lang="en-GB" dirty="0"/>
              <a:t>, </a:t>
            </a:r>
            <a:r>
              <a:rPr lang="en-GB" dirty="0" err="1"/>
              <a:t>lenge</a:t>
            </a:r>
            <a:r>
              <a:rPr lang="en-GB" dirty="0"/>
              <a:t> </a:t>
            </a:r>
            <a:r>
              <a:rPr lang="en-GB" dirty="0" err="1"/>
              <a:t>leve</a:t>
            </a:r>
            <a:r>
              <a:rPr lang="en-GB" dirty="0"/>
              <a:t> Papercut</a:t>
            </a:r>
            <a:endParaRPr lang="nb-NO" dirty="0"/>
          </a:p>
          <a:p>
            <a:endParaRPr lang="nb-NO" dirty="0"/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AD32E164-3BD5-4527-9D48-2DA69B3C960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63595" y="5199013"/>
            <a:ext cx="1585370" cy="269304"/>
          </a:xfrm>
        </p:spPr>
        <p:txBody>
          <a:bodyPr/>
          <a:lstStyle/>
          <a:p>
            <a:r>
              <a:rPr lang="en-GB" dirty="0"/>
              <a:t>Anders Widding</a:t>
            </a:r>
            <a:endParaRPr lang="nb-NO" dirty="0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DF8B529A-10DF-4EC9-8652-68941E17ED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463594" y="5468760"/>
            <a:ext cx="826829" cy="269304"/>
          </a:xfrm>
        </p:spPr>
        <p:txBody>
          <a:bodyPr/>
          <a:lstStyle/>
          <a:p>
            <a:r>
              <a:rPr lang="en-GB" dirty="0"/>
              <a:t>ITI/WAP</a:t>
            </a:r>
            <a:endParaRPr lang="nb-NO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BAFE8A2-A82A-40AB-88EA-C75D47371A8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463594" y="5735491"/>
            <a:ext cx="386324" cy="269304"/>
          </a:xfrm>
        </p:spPr>
        <p:txBody>
          <a:bodyPr/>
          <a:lstStyle/>
          <a:p>
            <a:r>
              <a:rPr lang="en-GB" dirty="0"/>
              <a:t>Ui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736848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11E2E54-7ADA-A5E3-CF7A-21EF5E4A62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b-NO"/>
              <a:t>IT-konf 2024</a:t>
            </a:r>
            <a:endParaRPr lang="nb-NO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295DDF7-20B3-754D-55B2-172E39964D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Safecom</a:t>
            </a:r>
            <a:endParaRPr lang="nb-NO" dirty="0"/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0796B3A6-A9D9-EBCE-10AA-006B6E045595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GB" dirty="0"/>
              <a:t>2015-2024</a:t>
            </a:r>
            <a:endParaRPr lang="nb-NO" dirty="0"/>
          </a:p>
          <a:p>
            <a:endParaRPr lang="nb-NO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FD27ECA-5D97-B263-7F1C-23AC730469FC}"/>
              </a:ext>
            </a:extLst>
          </p:cNvPr>
          <p:cNvSpPr>
            <a:spLocks noGrp="1"/>
          </p:cNvSpPr>
          <p:nvPr>
            <p:ph sz="quarter" idx="30"/>
          </p:nvPr>
        </p:nvSpPr>
        <p:spPr/>
        <p:txBody>
          <a:bodyPr/>
          <a:lstStyle/>
          <a:p>
            <a:r>
              <a:rPr lang="en-GB" dirty="0"/>
              <a:t>194.000.000 sider (590 </a:t>
            </a:r>
            <a:r>
              <a:rPr lang="en-GB" dirty="0" err="1"/>
              <a:t>tonn</a:t>
            </a:r>
            <a:r>
              <a:rPr lang="en-GB" dirty="0"/>
              <a:t> </a:t>
            </a:r>
            <a:r>
              <a:rPr lang="en-GB" dirty="0" err="1"/>
              <a:t>papir</a:t>
            </a:r>
            <a:r>
              <a:rPr lang="en-GB" dirty="0"/>
              <a:t>)</a:t>
            </a:r>
          </a:p>
          <a:p>
            <a:r>
              <a:rPr lang="en-GB" dirty="0" err="1"/>
              <a:t>Utmerket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2015, men </a:t>
            </a:r>
            <a:r>
              <a:rPr lang="en-GB" dirty="0" err="1"/>
              <a:t>ikke</a:t>
            </a:r>
            <a:r>
              <a:rPr lang="en-GB" dirty="0"/>
              <a:t> </a:t>
            </a:r>
            <a:r>
              <a:rPr lang="en-GB" dirty="0" err="1"/>
              <a:t>egnet</a:t>
            </a:r>
            <a:r>
              <a:rPr lang="en-GB" dirty="0"/>
              <a:t> i </a:t>
            </a:r>
            <a:r>
              <a:rPr lang="en-GB" dirty="0" err="1"/>
              <a:t>dag</a:t>
            </a:r>
            <a:endParaRPr lang="en-GB" dirty="0"/>
          </a:p>
          <a:p>
            <a:r>
              <a:rPr lang="en-GB" dirty="0" err="1"/>
              <a:t>Lagt</a:t>
            </a:r>
            <a:r>
              <a:rPr lang="en-GB" dirty="0"/>
              <a:t> ned 7.mai 2024</a:t>
            </a:r>
          </a:p>
          <a:p>
            <a:pPr marL="0" indent="0">
              <a:buNone/>
            </a:pPr>
            <a:endParaRPr lang="en-GB" dirty="0"/>
          </a:p>
        </p:txBody>
      </p:sp>
      <p:pic>
        <p:nvPicPr>
          <p:cNvPr id="14" name="Picture Placeholder 13" descr="A plane flying in the sky&#10;&#10;Description automatically generated">
            <a:extLst>
              <a:ext uri="{FF2B5EF4-FFF2-40B4-BE49-F238E27FC236}">
                <a16:creationId xmlns:a16="http://schemas.microsoft.com/office/drawing/2014/main" id="{1E5B98EE-1AAD-6D1D-7BD9-D850ECB09F28}"/>
              </a:ext>
            </a:extLst>
          </p:cNvPr>
          <p:cNvPicPr>
            <a:picLocks noGrp="1" noChangeAspect="1"/>
          </p:cNvPicPr>
          <p:nvPr>
            <p:ph type="pic" sz="quarter" idx="2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" r="39"/>
          <a:stretch>
            <a:fillRect/>
          </a:stretch>
        </p:blipFill>
        <p:spPr/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39C58E4-C2B0-1FBA-080D-0F0A50F1EFB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andersrw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444344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2A57DC6-6B48-4DE4-8A96-1775E3D28536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nb-NO"/>
              <a:t>IT-konf 2024</a:t>
            </a:r>
            <a:endParaRPr lang="nb-NO" dirty="0"/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16222C49-4944-408C-B75F-A5C6F3E383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y </a:t>
            </a:r>
            <a:r>
              <a:rPr lang="en-GB" dirty="0" err="1"/>
              <a:t>rammeavtale</a:t>
            </a:r>
            <a:endParaRPr lang="nb-NO" dirty="0"/>
          </a:p>
        </p:txBody>
      </p:sp>
      <p:sp>
        <p:nvSpPr>
          <p:cNvPr id="18" name="Subtitle 17">
            <a:extLst>
              <a:ext uri="{FF2B5EF4-FFF2-40B4-BE49-F238E27FC236}">
                <a16:creationId xmlns:a16="http://schemas.microsoft.com/office/drawing/2014/main" id="{3F2FD858-F90E-4979-9F2F-2EB880165FBA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GB" dirty="0" err="1"/>
              <a:t>Leverandør</a:t>
            </a:r>
            <a:r>
              <a:rPr lang="en-GB" dirty="0"/>
              <a:t>: Dustin med Papercut </a:t>
            </a:r>
            <a:r>
              <a:rPr lang="en-GB" dirty="0" err="1"/>
              <a:t>og</a:t>
            </a:r>
            <a:r>
              <a:rPr lang="en-GB" dirty="0"/>
              <a:t> HP</a:t>
            </a:r>
            <a:endParaRPr lang="nb-NO" dirty="0"/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FDD149E1-7AD3-415D-8630-B1A1A75F6300}"/>
              </a:ext>
            </a:extLst>
          </p:cNvPr>
          <p:cNvSpPr>
            <a:spLocks noGrp="1"/>
          </p:cNvSpPr>
          <p:nvPr>
            <p:ph sz="half" idx="29"/>
          </p:nvPr>
        </p:nvSpPr>
        <p:spPr/>
        <p:txBody>
          <a:bodyPr/>
          <a:lstStyle/>
          <a:p>
            <a:r>
              <a:rPr lang="nb-NO" dirty="0"/>
              <a:t>HP erstatter Ricoh</a:t>
            </a:r>
          </a:p>
          <a:p>
            <a:r>
              <a:rPr lang="nb-NO" dirty="0"/>
              <a:t>Pull, klikkprisbasert avtale som før</a:t>
            </a:r>
            <a:endParaRPr lang="en-GB" dirty="0"/>
          </a:p>
          <a:p>
            <a:r>
              <a:rPr lang="nb-NO" dirty="0"/>
              <a:t>Antall (pull)-lisenser redusert med 25% til 300</a:t>
            </a:r>
          </a:p>
          <a:p>
            <a:r>
              <a:rPr lang="nb-NO" dirty="0"/>
              <a:t>Alle bestillinger via utskrift/</a:t>
            </a:r>
            <a:r>
              <a:rPr lang="nb-NO" dirty="0" err="1"/>
              <a:t>innkjøp@usit</a:t>
            </a:r>
            <a:endParaRPr lang="nb-NO" dirty="0"/>
          </a:p>
          <a:p>
            <a:r>
              <a:rPr lang="en-GB" dirty="0" err="1"/>
              <a:t>Høst</a:t>
            </a:r>
            <a:r>
              <a:rPr lang="en-GB" dirty="0"/>
              <a:t> 2023, </a:t>
            </a:r>
            <a:r>
              <a:rPr lang="en-GB" dirty="0" err="1"/>
              <a:t>Usit</a:t>
            </a:r>
            <a:r>
              <a:rPr lang="en-GB" dirty="0"/>
              <a:t> </a:t>
            </a:r>
            <a:r>
              <a:rPr lang="en-GB" dirty="0" err="1"/>
              <a:t>først</a:t>
            </a:r>
            <a:r>
              <a:rPr lang="en-GB" dirty="0"/>
              <a:t> </a:t>
            </a:r>
            <a:r>
              <a:rPr lang="en-GB" dirty="0" err="1"/>
              <a:t>ut</a:t>
            </a:r>
            <a:endParaRPr lang="en-GB" dirty="0"/>
          </a:p>
          <a:p>
            <a:r>
              <a:rPr lang="en-GB" dirty="0"/>
              <a:t>Pilot SV</a:t>
            </a:r>
          </a:p>
          <a:p>
            <a:r>
              <a:rPr lang="nb-NO" dirty="0"/>
              <a:t>«Fullt» implementert mai 2024</a:t>
            </a:r>
          </a:p>
          <a:p>
            <a:endParaRPr lang="nb-NO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9BF7B3D2-635C-498E-BE89-396D76A3ECA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GB" dirty="0" err="1"/>
              <a:t>Enkel</a:t>
            </a:r>
            <a:r>
              <a:rPr lang="en-GB" dirty="0"/>
              <a:t> </a:t>
            </a:r>
            <a:r>
              <a:rPr lang="en-GB" dirty="0" err="1"/>
              <a:t>systemskisse</a:t>
            </a:r>
            <a:endParaRPr lang="nb-NO" dirty="0"/>
          </a:p>
        </p:txBody>
      </p:sp>
      <p:pic>
        <p:nvPicPr>
          <p:cNvPr id="23" name="Content Placeholder 22" descr="A diagram of a computer network&#10;&#10;Description automatically generated">
            <a:extLst>
              <a:ext uri="{FF2B5EF4-FFF2-40B4-BE49-F238E27FC236}">
                <a16:creationId xmlns:a16="http://schemas.microsoft.com/office/drawing/2014/main" id="{48DB7FD4-16A9-4E3F-87F3-5F534DC2C900}"/>
              </a:ext>
            </a:extLst>
          </p:cNvPr>
          <p:cNvPicPr>
            <a:picLocks noGrp="1" noChangeAspect="1"/>
          </p:cNvPicPr>
          <p:nvPr>
            <p:ph sz="half" idx="3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2063" y="1953234"/>
            <a:ext cx="5489575" cy="3910382"/>
          </a:xfrm>
        </p:spPr>
      </p:pic>
    </p:spTree>
    <p:extLst>
      <p:ext uri="{BB962C8B-B14F-4D97-AF65-F5344CB8AC3E}">
        <p14:creationId xmlns:p14="http://schemas.microsoft.com/office/powerpoint/2010/main" val="1574796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0B6D34-239E-4B24-B414-06EC0B9F3D9A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nb-NO"/>
              <a:t>IT-konf 2024</a:t>
            </a:r>
            <a:endParaRPr lang="nb-NO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C564C37-C438-408F-B38F-02C177DAFE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apercut</a:t>
            </a:r>
            <a:endParaRPr lang="nb-NO" dirty="0"/>
          </a:p>
        </p:txBody>
      </p:sp>
      <p:sp>
        <p:nvSpPr>
          <p:cNvPr id="10" name="Subtitle 9">
            <a:extLst>
              <a:ext uri="{FF2B5EF4-FFF2-40B4-BE49-F238E27FC236}">
                <a16:creationId xmlns:a16="http://schemas.microsoft.com/office/drawing/2014/main" id="{8F1CEA6B-07F2-4D24-BDBF-DC5B6ED5D068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GB" dirty="0"/>
              <a:t>Har alt </a:t>
            </a:r>
            <a:r>
              <a:rPr lang="en-GB" dirty="0" err="1"/>
              <a:t>gått</a:t>
            </a:r>
            <a:r>
              <a:rPr lang="en-GB" dirty="0"/>
              <a:t> </a:t>
            </a:r>
            <a:r>
              <a:rPr lang="en-GB" dirty="0" err="1"/>
              <a:t>etter</a:t>
            </a:r>
            <a:r>
              <a:rPr lang="en-GB" dirty="0"/>
              <a:t> </a:t>
            </a:r>
            <a:r>
              <a:rPr lang="en-GB" dirty="0" err="1"/>
              <a:t>planen</a:t>
            </a:r>
            <a:r>
              <a:rPr lang="en-GB" dirty="0"/>
              <a:t>?</a:t>
            </a:r>
            <a:endParaRPr lang="nb-NO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3BA1BCA3-689D-4652-8C5A-F1F7C4FBF2B1}"/>
              </a:ext>
            </a:extLst>
          </p:cNvPr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r>
              <a:rPr lang="en-GB" dirty="0"/>
              <a:t>Mange </a:t>
            </a:r>
            <a:r>
              <a:rPr lang="en-GB" dirty="0" err="1"/>
              <a:t>involverte</a:t>
            </a:r>
            <a:r>
              <a:rPr lang="en-GB" dirty="0"/>
              <a:t>; </a:t>
            </a:r>
            <a:r>
              <a:rPr lang="en-GB" dirty="0" err="1"/>
              <a:t>planlegging</a:t>
            </a:r>
            <a:r>
              <a:rPr lang="en-GB" dirty="0"/>
              <a:t>, </a:t>
            </a:r>
            <a:r>
              <a:rPr lang="en-GB" dirty="0" err="1"/>
              <a:t>informasjon</a:t>
            </a:r>
            <a:r>
              <a:rPr lang="en-GB" dirty="0"/>
              <a:t>, </a:t>
            </a:r>
            <a:r>
              <a:rPr lang="en-GB" dirty="0" err="1"/>
              <a:t>bestilling</a:t>
            </a:r>
            <a:r>
              <a:rPr lang="en-GB" dirty="0"/>
              <a:t>/</a:t>
            </a:r>
            <a:r>
              <a:rPr lang="en-GB" dirty="0" err="1"/>
              <a:t>mottak</a:t>
            </a:r>
            <a:r>
              <a:rPr lang="en-GB" dirty="0"/>
              <a:t>, </a:t>
            </a:r>
            <a:r>
              <a:rPr lang="en-GB" dirty="0" err="1"/>
              <a:t>implementering</a:t>
            </a:r>
            <a:r>
              <a:rPr lang="en-GB" dirty="0"/>
              <a:t>, </a:t>
            </a:r>
            <a:r>
              <a:rPr lang="en-GB" dirty="0" err="1"/>
              <a:t>brukerstøtte</a:t>
            </a:r>
            <a:endParaRPr lang="en-GB" dirty="0"/>
          </a:p>
          <a:p>
            <a:r>
              <a:rPr lang="en-GB" dirty="0" err="1"/>
              <a:t>Betalingsløsning</a:t>
            </a:r>
            <a:r>
              <a:rPr lang="en-GB" dirty="0"/>
              <a:t> via Papercut </a:t>
            </a:r>
            <a:r>
              <a:rPr lang="en-GB" dirty="0" err="1"/>
              <a:t>gjenstår</a:t>
            </a:r>
            <a:r>
              <a:rPr lang="en-GB" dirty="0"/>
              <a:t>, </a:t>
            </a:r>
            <a:br>
              <a:rPr lang="en-GB" dirty="0"/>
            </a:br>
            <a:r>
              <a:rPr lang="en-GB" dirty="0" err="1"/>
              <a:t>gammel</a:t>
            </a:r>
            <a:r>
              <a:rPr lang="en-GB" dirty="0"/>
              <a:t> </a:t>
            </a:r>
            <a:r>
              <a:rPr lang="en-GB" dirty="0" err="1"/>
              <a:t>løsning</a:t>
            </a:r>
            <a:r>
              <a:rPr lang="en-GB" dirty="0"/>
              <a:t> (utskrift.uio.no) </a:t>
            </a:r>
            <a:r>
              <a:rPr lang="en-GB" dirty="0" err="1"/>
              <a:t>brukes</a:t>
            </a:r>
            <a:r>
              <a:rPr lang="en-GB" dirty="0"/>
              <a:t> </a:t>
            </a:r>
            <a:r>
              <a:rPr lang="en-GB" dirty="0" err="1"/>
              <a:t>fortsatt</a:t>
            </a:r>
            <a:r>
              <a:rPr lang="en-GB" dirty="0"/>
              <a:t>.</a:t>
            </a:r>
          </a:p>
          <a:p>
            <a:r>
              <a:rPr lang="en-GB" dirty="0"/>
              <a:t>Modul for </a:t>
            </a:r>
            <a:r>
              <a:rPr lang="en-GB" dirty="0" err="1"/>
              <a:t>telleverksavlesning</a:t>
            </a:r>
            <a:r>
              <a:rPr lang="en-GB" dirty="0"/>
              <a:t> (Print Fleet) </a:t>
            </a:r>
            <a:r>
              <a:rPr lang="en-GB" dirty="0" err="1"/>
              <a:t>gjenstår</a:t>
            </a:r>
            <a:r>
              <a:rPr lang="en-GB" dirty="0"/>
              <a:t>,</a:t>
            </a:r>
            <a:br>
              <a:rPr lang="en-GB" dirty="0"/>
            </a:br>
            <a:r>
              <a:rPr lang="en-GB" dirty="0"/>
              <a:t>MPS Monitor </a:t>
            </a:r>
            <a:r>
              <a:rPr lang="en-GB" dirty="0" err="1"/>
              <a:t>håndterer</a:t>
            </a:r>
            <a:r>
              <a:rPr lang="en-GB" dirty="0"/>
              <a:t> </a:t>
            </a:r>
            <a:r>
              <a:rPr lang="en-GB" dirty="0" err="1"/>
              <a:t>dette</a:t>
            </a:r>
            <a:r>
              <a:rPr lang="en-GB" dirty="0"/>
              <a:t> </a:t>
            </a:r>
            <a:r>
              <a:rPr lang="en-GB" dirty="0" err="1"/>
              <a:t>inntil</a:t>
            </a:r>
            <a:r>
              <a:rPr lang="en-GB" dirty="0"/>
              <a:t> </a:t>
            </a:r>
            <a:r>
              <a:rPr lang="en-GB" dirty="0" err="1"/>
              <a:t>videre</a:t>
            </a:r>
            <a:r>
              <a:rPr lang="en-GB" dirty="0"/>
              <a:t>.</a:t>
            </a:r>
          </a:p>
          <a:p>
            <a:r>
              <a:rPr lang="en-GB" dirty="0"/>
              <a:t>System for </a:t>
            </a:r>
            <a:r>
              <a:rPr lang="en-GB" dirty="0" err="1"/>
              <a:t>bedre</a:t>
            </a:r>
            <a:r>
              <a:rPr lang="en-GB" dirty="0"/>
              <a:t> </a:t>
            </a:r>
            <a:r>
              <a:rPr lang="en-GB" dirty="0" err="1"/>
              <a:t>overvåking</a:t>
            </a:r>
            <a:r>
              <a:rPr lang="en-GB" dirty="0"/>
              <a:t> </a:t>
            </a:r>
            <a:r>
              <a:rPr lang="en-GB" dirty="0" err="1"/>
              <a:t>av</a:t>
            </a:r>
            <a:r>
              <a:rPr lang="en-GB" dirty="0"/>
              <a:t> </a:t>
            </a:r>
            <a:r>
              <a:rPr lang="en-GB" dirty="0" err="1"/>
              <a:t>maskinparken</a:t>
            </a:r>
            <a:r>
              <a:rPr lang="en-GB" dirty="0"/>
              <a:t> er under </a:t>
            </a:r>
            <a:r>
              <a:rPr lang="en-GB" dirty="0" err="1"/>
              <a:t>utvikling</a:t>
            </a:r>
            <a:r>
              <a:rPr lang="en-GB" dirty="0"/>
              <a:t> (Zabbix)</a:t>
            </a:r>
          </a:p>
          <a:p>
            <a:pPr marL="0" indent="0">
              <a:buNone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815675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0B6D34-239E-4B24-B414-06EC0B9F3D9A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nb-NO"/>
              <a:t>IT-konf 2024</a:t>
            </a:r>
            <a:endParaRPr lang="nb-NO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C564C37-C438-408F-B38F-02C177DAFE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ustin</a:t>
            </a:r>
            <a:endParaRPr lang="nb-NO" dirty="0"/>
          </a:p>
        </p:txBody>
      </p:sp>
      <p:sp>
        <p:nvSpPr>
          <p:cNvPr id="10" name="Subtitle 9">
            <a:extLst>
              <a:ext uri="{FF2B5EF4-FFF2-40B4-BE49-F238E27FC236}">
                <a16:creationId xmlns:a16="http://schemas.microsoft.com/office/drawing/2014/main" id="{8F1CEA6B-07F2-4D24-BDBF-DC5B6ED5D068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GB" dirty="0"/>
              <a:t>Har alt </a:t>
            </a:r>
            <a:r>
              <a:rPr lang="en-GB" dirty="0" err="1"/>
              <a:t>gått</a:t>
            </a:r>
            <a:r>
              <a:rPr lang="en-GB" dirty="0"/>
              <a:t> </a:t>
            </a:r>
            <a:r>
              <a:rPr lang="en-GB" dirty="0" err="1"/>
              <a:t>etter</a:t>
            </a:r>
            <a:r>
              <a:rPr lang="en-GB" dirty="0"/>
              <a:t> </a:t>
            </a:r>
            <a:r>
              <a:rPr lang="en-GB" dirty="0" err="1"/>
              <a:t>planen</a:t>
            </a:r>
            <a:r>
              <a:rPr lang="en-GB" dirty="0"/>
              <a:t>?</a:t>
            </a:r>
            <a:endParaRPr lang="nb-NO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3BA1BCA3-689D-4652-8C5A-F1F7C4FBF2B1}"/>
              </a:ext>
            </a:extLst>
          </p:cNvPr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r>
              <a:rPr lang="en-GB" dirty="0" err="1"/>
              <a:t>Merkantilt</a:t>
            </a:r>
            <a:br>
              <a:rPr lang="en-GB" dirty="0"/>
            </a:br>
            <a:r>
              <a:rPr lang="en-GB" dirty="0"/>
              <a:t>- </a:t>
            </a:r>
            <a:r>
              <a:rPr lang="en-GB" dirty="0" err="1"/>
              <a:t>Rutiner</a:t>
            </a:r>
            <a:r>
              <a:rPr lang="en-GB" dirty="0"/>
              <a:t> </a:t>
            </a:r>
            <a:r>
              <a:rPr lang="en-GB" dirty="0" err="1"/>
              <a:t>ved</a:t>
            </a:r>
            <a:r>
              <a:rPr lang="en-GB" dirty="0"/>
              <a:t> </a:t>
            </a:r>
            <a:r>
              <a:rPr lang="en-GB" dirty="0" err="1"/>
              <a:t>innkjøp</a:t>
            </a:r>
            <a:br>
              <a:rPr lang="en-GB" dirty="0"/>
            </a:br>
            <a:r>
              <a:rPr lang="en-GB" dirty="0"/>
              <a:t>- </a:t>
            </a:r>
            <a:r>
              <a:rPr lang="en-GB" dirty="0" err="1"/>
              <a:t>Tidvis</a:t>
            </a:r>
            <a:r>
              <a:rPr lang="en-GB" dirty="0"/>
              <a:t> </a:t>
            </a:r>
            <a:r>
              <a:rPr lang="en-GB" dirty="0" err="1"/>
              <a:t>forsinkelser</a:t>
            </a:r>
            <a:r>
              <a:rPr lang="en-GB" dirty="0"/>
              <a:t> med </a:t>
            </a:r>
            <a:r>
              <a:rPr lang="en-GB" dirty="0" err="1"/>
              <a:t>leveranser</a:t>
            </a:r>
            <a:br>
              <a:rPr lang="en-GB" dirty="0"/>
            </a:br>
            <a:r>
              <a:rPr lang="en-GB" dirty="0"/>
              <a:t>- </a:t>
            </a:r>
            <a:r>
              <a:rPr lang="en-GB" dirty="0" err="1"/>
              <a:t>Rutiner</a:t>
            </a:r>
            <a:r>
              <a:rPr lang="en-GB" dirty="0"/>
              <a:t> </a:t>
            </a:r>
            <a:r>
              <a:rPr lang="en-GB" dirty="0" err="1"/>
              <a:t>ved</a:t>
            </a:r>
            <a:r>
              <a:rPr lang="en-GB" dirty="0"/>
              <a:t> </a:t>
            </a:r>
            <a:r>
              <a:rPr lang="en-GB" dirty="0" err="1"/>
              <a:t>fakturering</a:t>
            </a:r>
            <a:endParaRPr lang="en-GB" dirty="0"/>
          </a:p>
          <a:p>
            <a:r>
              <a:rPr lang="en-GB" dirty="0"/>
              <a:t>Service</a:t>
            </a:r>
            <a:br>
              <a:rPr lang="en-GB" dirty="0"/>
            </a:br>
            <a:r>
              <a:rPr lang="en-GB" dirty="0"/>
              <a:t>- </a:t>
            </a:r>
            <a:r>
              <a:rPr lang="en-GB" dirty="0" err="1"/>
              <a:t>Bytte</a:t>
            </a:r>
            <a:r>
              <a:rPr lang="en-GB" dirty="0"/>
              <a:t> </a:t>
            </a:r>
            <a:r>
              <a:rPr lang="en-GB" dirty="0" err="1"/>
              <a:t>av</a:t>
            </a:r>
            <a:r>
              <a:rPr lang="en-GB" dirty="0"/>
              <a:t> </a:t>
            </a:r>
            <a:r>
              <a:rPr lang="en-GB" dirty="0" err="1"/>
              <a:t>underleverandør</a:t>
            </a:r>
            <a:r>
              <a:rPr lang="en-GB" dirty="0"/>
              <a:t> ga </a:t>
            </a:r>
            <a:r>
              <a:rPr lang="en-GB" dirty="0" err="1"/>
              <a:t>utfordringer</a:t>
            </a:r>
            <a:br>
              <a:rPr lang="en-GB" dirty="0"/>
            </a:br>
            <a:r>
              <a:rPr lang="en-GB" dirty="0"/>
              <a:t>- </a:t>
            </a:r>
            <a:r>
              <a:rPr lang="en-GB" dirty="0" err="1"/>
              <a:t>Tonerleveranser</a:t>
            </a:r>
            <a:r>
              <a:rPr lang="en-GB" dirty="0"/>
              <a:t> </a:t>
            </a:r>
            <a:r>
              <a:rPr lang="en-GB" dirty="0" err="1"/>
              <a:t>tidvis</a:t>
            </a:r>
            <a:r>
              <a:rPr lang="en-GB" dirty="0"/>
              <a:t> </a:t>
            </a:r>
            <a:r>
              <a:rPr lang="en-GB" dirty="0" err="1"/>
              <a:t>forsinket</a:t>
            </a:r>
            <a:br>
              <a:rPr lang="en-GB" dirty="0"/>
            </a:br>
            <a:r>
              <a:rPr lang="en-GB" dirty="0"/>
              <a:t>- Service </a:t>
            </a:r>
            <a:r>
              <a:rPr lang="en-GB" dirty="0" err="1"/>
              <a:t>på</a:t>
            </a:r>
            <a:r>
              <a:rPr lang="en-GB" dirty="0"/>
              <a:t> MFP: </a:t>
            </a:r>
            <a:r>
              <a:rPr lang="en-GB" dirty="0" err="1"/>
              <a:t>Advania</a:t>
            </a:r>
            <a:r>
              <a:rPr lang="en-GB" dirty="0"/>
              <a:t>: </a:t>
            </a:r>
            <a:r>
              <a:rPr lang="en-GB" dirty="0" err="1"/>
              <a:t>tlf</a:t>
            </a:r>
            <a:r>
              <a:rPr lang="en-GB" dirty="0"/>
              <a:t>. </a:t>
            </a:r>
            <a:r>
              <a:rPr lang="nb-NO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909 60 600, dokument@advania.no</a:t>
            </a:r>
            <a:br>
              <a:rPr lang="en-GB" dirty="0"/>
            </a:br>
            <a:r>
              <a:rPr lang="en-GB" dirty="0"/>
              <a:t>- </a:t>
            </a:r>
            <a:r>
              <a:rPr lang="en-GB" dirty="0" err="1"/>
              <a:t>Brukerportal</a:t>
            </a:r>
            <a:r>
              <a:rPr lang="en-GB" dirty="0"/>
              <a:t> for </a:t>
            </a:r>
            <a:r>
              <a:rPr lang="en-GB" dirty="0" err="1"/>
              <a:t>feilmeldinger</a:t>
            </a:r>
            <a:r>
              <a:rPr lang="en-GB" dirty="0"/>
              <a:t> </a:t>
            </a:r>
            <a:r>
              <a:rPr lang="en-GB" dirty="0" err="1"/>
              <a:t>kommer</a:t>
            </a:r>
            <a:br>
              <a:rPr lang="en-GB" dirty="0"/>
            </a:br>
            <a:r>
              <a:rPr lang="en-GB" dirty="0"/>
              <a:t>- </a:t>
            </a:r>
            <a:r>
              <a:rPr lang="en-GB" dirty="0" err="1"/>
              <a:t>Kontaktpunkt</a:t>
            </a:r>
            <a:r>
              <a:rPr lang="en-GB" dirty="0"/>
              <a:t> </a:t>
            </a:r>
            <a:r>
              <a:rPr lang="en-GB" dirty="0" err="1"/>
              <a:t>tonere</a:t>
            </a:r>
            <a:r>
              <a:rPr lang="en-GB" dirty="0"/>
              <a:t>: uio.print@dustin.com</a:t>
            </a:r>
            <a:br>
              <a:rPr lang="en-GB" dirty="0"/>
            </a:br>
            <a:endParaRPr lang="en-GB" dirty="0"/>
          </a:p>
          <a:p>
            <a:pPr marL="0" indent="0">
              <a:buNone/>
            </a:pPr>
            <a:br>
              <a:rPr lang="en-GB" dirty="0"/>
            </a:b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573787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15D26F30-489C-CCF1-EEC3-278A52B4E7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</p:spPr>
        <p:txBody>
          <a:bodyPr/>
          <a:lstStyle/>
          <a:p>
            <a:r>
              <a:rPr lang="nb-NO"/>
              <a:t>IT-konf 2024</a:t>
            </a: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126DC34F-4C29-CAAD-76EA-3BE4993F65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/>
          <a:p>
            <a:r>
              <a:rPr lang="nb-NO" sz="3600" b="0" i="0" baseline="0" dirty="0">
                <a:effectLst/>
              </a:rPr>
              <a:t>			Historikk - Utskriftsvolum i millioner sider</a:t>
            </a:r>
            <a:br>
              <a:rPr lang="nb-NO" dirty="0">
                <a:effectLst/>
              </a:rPr>
            </a:br>
            <a:endParaRPr lang="en-US" dirty="0"/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3087312029"/>
              </p:ext>
            </p:extLst>
          </p:nvPr>
        </p:nvGraphicFramePr>
        <p:xfrm>
          <a:off x="360044" y="1082726"/>
          <a:ext cx="11471910" cy="4817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7702431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32022F9-31A2-4BFD-B582-A8EC541BCF00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T-konf 2024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53B7FD5-30D6-4A42-A96F-4ACAFBFC54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Oversikt over skrivere er lagt inn i mazemap</a:t>
            </a:r>
            <a:endParaRPr lang="nb-NO" dirty="0"/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22829756-B254-459F-8191-48257F1EF09A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GB" dirty="0"/>
              <a:t>https://www.uio.no/tjenester/it/adm-app/mazemap/</a:t>
            </a:r>
            <a:endParaRPr lang="nb-NO" dirty="0"/>
          </a:p>
        </p:txBody>
      </p:sp>
      <p:pic>
        <p:nvPicPr>
          <p:cNvPr id="8" name="Content Placeholder 7" descr="A map of a city&#10;&#10;Description automatically generated">
            <a:extLst>
              <a:ext uri="{FF2B5EF4-FFF2-40B4-BE49-F238E27FC236}">
                <a16:creationId xmlns:a16="http://schemas.microsoft.com/office/drawing/2014/main" id="{684151B8-AC72-424E-B3A5-686618A77677}"/>
              </a:ext>
            </a:extLst>
          </p:cNvPr>
          <p:cNvPicPr>
            <a:picLocks noGrp="1" noChangeAspect="1"/>
          </p:cNvPicPr>
          <p:nvPr>
            <p:ph sz="half" idx="3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9012" y="1757363"/>
            <a:ext cx="8433977" cy="4300537"/>
          </a:xfrm>
        </p:spPr>
      </p:pic>
    </p:spTree>
    <p:extLst>
      <p:ext uri="{BB962C8B-B14F-4D97-AF65-F5344CB8AC3E}">
        <p14:creationId xmlns:p14="http://schemas.microsoft.com/office/powerpoint/2010/main" val="17239963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5DEDB56-0396-35BC-F074-2116BA031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IT-konf 2024</a:t>
            </a:r>
            <a:endParaRPr lang="nb-NO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C747C13-8042-029C-AB9E-4F18AAD079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2057" y="650517"/>
            <a:ext cx="4151736" cy="532836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3CA784B-7353-641F-25C6-E89D5DBA43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19799" y="561974"/>
            <a:ext cx="5328365" cy="5328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93867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2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5</_dlc_DocId>
    <_dlc_DocIdUrl xmlns="e5e35b8c-bb2a-40e7-acd7-beed1d1f14b8">
      <Url>https://uio.sharepoint.com/sites/GrafiskUttrykk/_layouts/15/DocIdRedir.aspx?ID=JAJEJYK5CVUX-448798232-25</Url>
      <Description>JAJEJYK5CVUX-448798232-25</Description>
    </_dlc_DocIdUrl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3" ma:contentTypeDescription="Opprett et nytt dokument." ma:contentTypeScope="" ma:versionID="5455942cb6f0bea4a5be7aed3bead13f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5fb6ac5289525f1f15273a3106bcccc3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9B9CF10-6C6A-444C-B05E-E78C1785A52C}">
  <ds:schemaRefs>
    <ds:schemaRef ds:uri="http://www.w3.org/XML/1998/namespace"/>
    <ds:schemaRef ds:uri="http://purl.org/dc/terms/"/>
    <ds:schemaRef ds:uri="http://schemas.microsoft.com/office/2006/documentManagement/types"/>
    <ds:schemaRef ds:uri="http://schemas.microsoft.com/office/infopath/2007/PartnerControls"/>
    <ds:schemaRef ds:uri="45a9c032-1c21-4297-bc4a-1b0e359a6c15"/>
    <ds:schemaRef ds:uri="http://schemas.openxmlformats.org/package/2006/metadata/core-properties"/>
    <ds:schemaRef ds:uri="http://purl.org/dc/elements/1.1/"/>
    <ds:schemaRef ds:uri="e5e35b8c-bb2a-40e7-acd7-beed1d1f14b8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C72580FF-7F01-4AAE-8F7B-56E7B47502D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e35b8c-bb2a-40e7-acd7-beed1d1f14b8"/>
    <ds:schemaRef ds:uri="45a9c032-1c21-4297-bc4a-1b0e359a6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81821DCD-2816-4F67-91A6-4B2280A84407}">
  <ds:schemaRefs>
    <ds:schemaRef ds:uri="http://schemas.microsoft.com/sharepoint/events"/>
  </ds:schemaRefs>
</ds:datastoreItem>
</file>

<file path=docMetadata/LabelInfo.xml><?xml version="1.0" encoding="utf-8"?>
<clbl:labelList xmlns:clbl="http://schemas.microsoft.com/office/2020/mipLabelMetadata">
  <clbl:label id="{463b6811-b0a4-4b2a-b932-72c4c970c5d2}" enabled="0" method="" siteId="{463b6811-b0a4-4b2a-b932-72c4c970c5d2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2884</TotalTime>
  <Words>289</Words>
  <Application>Microsoft Office PowerPoint</Application>
  <PresentationFormat>Widescreen</PresentationFormat>
  <Paragraphs>46</Paragraphs>
  <Slides>8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6" baseType="lpstr">
      <vt:lpstr>Arial</vt:lpstr>
      <vt:lpstr>Arial, sans-serif</vt:lpstr>
      <vt:lpstr>Calibri</vt:lpstr>
      <vt:lpstr>Helvetica</vt:lpstr>
      <vt:lpstr>Wingdings</vt:lpstr>
      <vt:lpstr>Office Theme</vt:lpstr>
      <vt:lpstr>1_Office Theme</vt:lpstr>
      <vt:lpstr>think-cell Slide</vt:lpstr>
      <vt:lpstr>Nytt Utskriftssystem</vt:lpstr>
      <vt:lpstr>Safecom</vt:lpstr>
      <vt:lpstr>Ny rammeavtale</vt:lpstr>
      <vt:lpstr>Papercut</vt:lpstr>
      <vt:lpstr>Dustin</vt:lpstr>
      <vt:lpstr>   Historikk - Utskriftsvolum i millioner sider </vt:lpstr>
      <vt:lpstr>Oversikt over skrivere er lagt inn i mazemap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ers Ringereide Widding</dc:creator>
  <cp:lastModifiedBy>Anders Ringereide Widding</cp:lastModifiedBy>
  <cp:revision>12</cp:revision>
  <cp:lastPrinted>2024-05-30T12:57:17Z</cp:lastPrinted>
  <dcterms:created xsi:type="dcterms:W3CDTF">2024-05-29T11:22:06Z</dcterms:created>
  <dcterms:modified xsi:type="dcterms:W3CDTF">2024-06-05T08:55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